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32"/>
  </p:notesMasterIdLst>
  <p:handoutMasterIdLst>
    <p:handoutMasterId r:id="rId33"/>
  </p:handoutMasterIdLst>
  <p:sldIdLst>
    <p:sldId id="347" r:id="rId6"/>
    <p:sldId id="258" r:id="rId7"/>
    <p:sldId id="428" r:id="rId8"/>
    <p:sldId id="423" r:id="rId9"/>
    <p:sldId id="430" r:id="rId10"/>
    <p:sldId id="429" r:id="rId11"/>
    <p:sldId id="459" r:id="rId12"/>
    <p:sldId id="461" r:id="rId13"/>
    <p:sldId id="462" r:id="rId14"/>
    <p:sldId id="464" r:id="rId15"/>
    <p:sldId id="463" r:id="rId16"/>
    <p:sldId id="467" r:id="rId17"/>
    <p:sldId id="466" r:id="rId18"/>
    <p:sldId id="465" r:id="rId19"/>
    <p:sldId id="471" r:id="rId20"/>
    <p:sldId id="472" r:id="rId21"/>
    <p:sldId id="473" r:id="rId22"/>
    <p:sldId id="468" r:id="rId23"/>
    <p:sldId id="469" r:id="rId24"/>
    <p:sldId id="470" r:id="rId25"/>
    <p:sldId id="474" r:id="rId26"/>
    <p:sldId id="475" r:id="rId27"/>
    <p:sldId id="476" r:id="rId28"/>
    <p:sldId id="417" r:id="rId29"/>
    <p:sldId id="358" r:id="rId30"/>
    <p:sldId id="257" r:id="rId31"/>
  </p:sldIdLst>
  <p:sldSz cx="12192000" cy="6858000"/>
  <p:notesSz cx="7099300" cy="10234613"/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3"/>
    <p:restoredTop sz="96327"/>
  </p:normalViewPr>
  <p:slideViewPr>
    <p:cSldViewPr snapToGrid="0">
      <p:cViewPr varScale="1">
        <p:scale>
          <a:sx n="79" d="100"/>
          <a:sy n="79" d="100"/>
        </p:scale>
        <p:origin x="883" y="77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6/11/relationships/changesInfo" Target="changesInfos/changesInfo1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05FB9-19E1-DAF1-A92F-FE215755C0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D22D3A-AA97-C0DF-C727-8E7912A07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928993-A3A5-31C1-5DE9-F5AEA9727D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065AFB6-A86A-F3E2-B033-40C7E2F2783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61C00E-A319-4029-35D9-C0E1869F2BB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D1E5F7-6D4B-7216-2B30-DE0755E51C5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523B6C-DAED-EF49-18F0-D28A9E2B07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0103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45BCD-4A05-37C1-FC56-8E7D1643F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260BA8-467F-7106-57DB-AB3251A086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0F03F7-941A-7204-DDE8-E608F117CD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6EB2C47-F482-1606-5396-76631497967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FD876-9A23-197F-F799-329992085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A18CA7-7340-2D9C-A89D-AA027FD076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018A2D-C436-0056-7BC9-FF9BAF2B6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2579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6CC36-B900-C08F-074A-6C0B686BE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6DAB8-CDA5-95F2-A0E3-85C70D25F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5FAF8-880D-368F-FF90-F343979FA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C44BD0B-CF97-8710-C6A7-45A1BC511F5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86BFB-6B1B-84A9-FB06-BA5AFEE001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75DAB4-271C-15DB-C8C9-4D4853882C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77223E-2530-11F9-A61E-45E5C77BB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1902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866B1-279B-6B12-9D43-B81CA8D96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7D8275-8EFA-C1C7-1816-10FC412CD7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876723-42D8-ED38-E3E5-2B4AE57607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5CC745A-0C82-08E5-6377-45A8A75DD7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E8D9BA-D0CA-9E6D-B890-631DC885369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2CB1BC2-AECA-7942-3589-E7D2BBBF665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0DEE44-9235-1309-F37D-EED287C511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493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5DF4F-9013-59C3-5005-9E2340FCA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B987FE-4AC9-53E7-9144-22FC3A46D9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62197F-AED6-B131-82AA-FEF6BE04BB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2BD26D3-52F6-190C-10FE-FB389F3C512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076AD1-52CB-8DE3-C9C5-BA2E2D80466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F470B0C-7537-DF2D-7DA7-2EE63872C52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BC307D-5559-376D-D914-96BB52B061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679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D21E1-047B-BF08-85B1-86500AABF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0CAC76-358D-587E-56A8-5AA01407B4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BB4836-AA28-BA0B-B5F7-E27C84CFAD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ACBAAC-492E-8DA1-668D-B4A9BD725EB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29D83-3343-567E-80C1-A6CEADA1B25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8F7BB32-D71C-29AB-FDAA-6A7F9BA369E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95C42E-3C50-012D-1E53-7BA6E24BB1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083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E7395-18D2-351F-0C1B-197F243D2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828E45-E9E5-E849-B415-20C21AB19A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B5BB7D-0CF5-775C-772E-35E60EF0E3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FADEE611-1623-4416-DA88-EE398B91B60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7EA138-59F6-8368-CEFE-E31538D01B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BDDAF-57DB-9801-DCF6-6D55AFAFC6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3C453C-9171-BA79-E17C-61859EC004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2050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0B53D-427D-43C9-07AF-5AB4F77F5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9128E9-B498-C217-AF0B-992561D106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618A4E-36DE-B83B-AF80-09DFEF1702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50BB5A0C-F1FE-3744-B895-8BB07ADB05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C85E59-FAAB-8FD0-2A8B-8DB7E4B20F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6D05EF1-459A-E369-03D6-4C1161DEA3D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F481A-6F78-30DE-CD0B-CCC90AEEC6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9602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03D1D-E581-1167-68D7-AB90E7F2D0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2E21B3-49BD-B65D-3831-828078AAE8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CCA45B-0D41-9E70-B54A-3BC4FB70DD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AEB89922-BB58-04E4-E9DD-FB4F1F15D13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E012EF-44AC-6115-0FD5-F674DC1A058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A457FDB-D452-5C65-4A3C-9BE4227A081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B507D6-5F78-AFB8-9BCE-B8DAC5F0BF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66024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0A65B-71F7-F2EB-2773-939A8AFFDB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90F5C5-23EB-4AF2-773C-382C7013DD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94CAF3-4FD2-7415-B047-08632203A6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DCB7538-B276-9210-8BDB-3755BF6ECDB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99B323-7B17-8EB7-6D51-5E6E020D84C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76879BE-F18D-A89D-01A7-6B7C780D5D9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7DDC72-9454-E0E8-D79E-5E08067936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396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erkay Ipek – </a:t>
            </a:r>
            <a:r>
              <a:rPr lang="en-US" dirty="0" err="1"/>
              <a:t>ARPLab</a:t>
            </a:r>
            <a:br>
              <a:rPr lang="en-US" dirty="0"/>
            </a:br>
            <a:r>
              <a:rPr lang="en-US" dirty="0"/>
              <a:t>04/09/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weekly Update Presentation 0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2AA326-761B-4D4C-FE76-5033C83C4A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EF0BDB-0F81-1030-D662-0B607A5EF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0D1241-026C-A681-AEF8-223E8F05D4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6DE757-390C-D153-1FC4-4E11F9EEC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EFD034-9DDE-8941-96DA-9570D4BF5F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0044A9-A9FC-368E-D333-068A4E33A7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72" y="1839899"/>
            <a:ext cx="5418290" cy="395512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92E9FAF-336A-D836-D9EF-341D7D78DC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800" y="1855141"/>
            <a:ext cx="5395428" cy="3939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50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74680-D9A8-5F5F-D98D-CC2A959D22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08669D-4A59-EC81-6984-35F237BE3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DB1790-674E-547E-AC58-735689E909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335AD0-EDB3-EF98-EAC5-147CB1726E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1E434C-1344-879E-DF2A-68988D907EA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at about @ 2 GHz: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21E96E-EA92-E10D-BF70-CA67F4E8AB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622320"/>
            <a:ext cx="12192000" cy="51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622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E578A-AA9F-C5F7-330C-7402A5AB3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E995265-7F58-B348-1678-902BA484A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773B47-D691-1B36-13F5-2581A62B50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A71B9-10A6-3D5B-D5E2-9E350DEC5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3473DA-135D-4660-757B-B79719261CD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66B9C8-B46B-27F2-A4FF-A26E4AEFD3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624036"/>
            <a:ext cx="11522369" cy="492802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7521FE1-E8F0-6FEF-B143-60EA1717BDE9}"/>
              </a:ext>
            </a:extLst>
          </p:cNvPr>
          <p:cNvCxnSpPr/>
          <p:nvPr/>
        </p:nvCxnSpPr>
        <p:spPr>
          <a:xfrm>
            <a:off x="8469548" y="8406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A352A89-C361-A319-EF24-EA7E5C0984B3}"/>
              </a:ext>
            </a:extLst>
          </p:cNvPr>
          <p:cNvCxnSpPr/>
          <p:nvPr/>
        </p:nvCxnSpPr>
        <p:spPr>
          <a:xfrm>
            <a:off x="2409216" y="22461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194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B5897-5548-7F4B-F54B-491A11B44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2E9D09E-FF2D-9709-5723-AB81D0D48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F31FF9-41B4-5D7D-FDA6-583EE18888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B016A-48CA-E760-41DC-4C8091BD2A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5F6668-9CA8-C3DE-F8DF-54ED1D30351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refore, calibration seems that it does not working @ 1.5 GHz:</a:t>
            </a:r>
          </a:p>
        </p:txBody>
      </p:sp>
      <p:pic>
        <p:nvPicPr>
          <p:cNvPr id="7" name="Picture 6" descr="A graph with red and blue lines&#10;&#10;AI-generated content may be incorrect.">
            <a:extLst>
              <a:ext uri="{FF2B5EF4-FFF2-40B4-BE49-F238E27FC236}">
                <a16:creationId xmlns:a16="http://schemas.microsoft.com/office/drawing/2014/main" id="{CE69648C-BBC3-EAAB-A5C2-CAB775699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50" y="1643975"/>
            <a:ext cx="11201717" cy="493210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168B1A9-92FE-A548-1607-B78FC8401FDD}"/>
              </a:ext>
            </a:extLst>
          </p:cNvPr>
          <p:cNvCxnSpPr/>
          <p:nvPr/>
        </p:nvCxnSpPr>
        <p:spPr>
          <a:xfrm>
            <a:off x="2516220" y="40068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6523B9-F62A-84C3-7DC7-925895716984}"/>
              </a:ext>
            </a:extLst>
          </p:cNvPr>
          <p:cNvCxnSpPr/>
          <p:nvPr/>
        </p:nvCxnSpPr>
        <p:spPr>
          <a:xfrm>
            <a:off x="8372272" y="9087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61413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285B73-570E-3685-E3C2-88AF027B4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319514-56F0-650F-5478-39E3CA24E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Solution @1.5 GHz</a:t>
            </a:r>
          </a:p>
        </p:txBody>
      </p:sp>
    </p:spTree>
    <p:extLst>
      <p:ext uri="{BB962C8B-B14F-4D97-AF65-F5344CB8AC3E}">
        <p14:creationId xmlns:p14="http://schemas.microsoft.com/office/powerpoint/2010/main" val="23018802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5A870-1A38-EFA4-9575-2DCFAF0C5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graph with numbers and lines&#10;&#10;AI-generated content may be incorrect.">
            <a:extLst>
              <a:ext uri="{FF2B5EF4-FFF2-40B4-BE49-F238E27FC236}">
                <a16:creationId xmlns:a16="http://schemas.microsoft.com/office/drawing/2014/main" id="{D778ACCB-E1B2-1E61-EEC8-200B423555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28720"/>
            <a:ext cx="12192000" cy="514129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A647D1C-4A78-566F-BCF2-B9AA200CE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Solution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0FFF6E-BF95-938C-A3F8-F877927496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89A232-5115-8916-6E9A-1687AB2160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D391CB-F8E9-57F3-F9C1-A02754CEFD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err="1"/>
              <a:t>thd</a:t>
            </a:r>
            <a:r>
              <a:rPr lang="en-US" dirty="0"/>
              <a:t>(</a:t>
            </a:r>
            <a:r>
              <a:rPr lang="en-US" dirty="0" err="1"/>
              <a:t>calibratedWave</a:t>
            </a:r>
            <a:r>
              <a:rPr lang="en-US" dirty="0"/>
              <a:t>, fs, </a:t>
            </a:r>
            <a:r>
              <a:rPr lang="en-US" b="1" dirty="0"/>
              <a:t>#ofHarmonics</a:t>
            </a:r>
            <a:r>
              <a:rPr lang="en-US" dirty="0"/>
              <a:t>, ‘aliased’); where </a:t>
            </a:r>
            <a:r>
              <a:rPr lang="en-US" b="1" dirty="0"/>
              <a:t>#ofHarmonics = 15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BE725E-6ED5-282F-6100-8A2833DA6285}"/>
              </a:ext>
            </a:extLst>
          </p:cNvPr>
          <p:cNvCxnSpPr/>
          <p:nvPr/>
        </p:nvCxnSpPr>
        <p:spPr>
          <a:xfrm>
            <a:off x="2370305" y="4046400"/>
            <a:ext cx="0" cy="118288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97B512F-DD03-B6BE-885D-6F26EDECBA93}"/>
              </a:ext>
            </a:extLst>
          </p:cNvPr>
          <p:cNvCxnSpPr>
            <a:cxnSpLocks/>
          </p:cNvCxnSpPr>
          <p:nvPr/>
        </p:nvCxnSpPr>
        <p:spPr>
          <a:xfrm flipH="1">
            <a:off x="8955932" y="2879694"/>
            <a:ext cx="1501302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09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43A33-6EAF-F1B7-1A9D-108FABB3E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aph with lines and numbers&#10;&#10;AI-generated content may be incorrect.">
            <a:extLst>
              <a:ext uri="{FF2B5EF4-FFF2-40B4-BE49-F238E27FC236}">
                <a16:creationId xmlns:a16="http://schemas.microsoft.com/office/drawing/2014/main" id="{24E5D925-B3E0-894A-9198-3F34D435CB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647869"/>
            <a:ext cx="12192000" cy="519288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0A2291B-1498-AEAA-095C-58A4CFC52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Solution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B2E14B-223E-4D91-7075-B65B8A4089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E4721C-8728-C4EC-7118-3D6FE86ABE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93B9B1-30F7-F50B-4D03-BE16C6DFD33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err="1"/>
              <a:t>thd</a:t>
            </a:r>
            <a:r>
              <a:rPr lang="en-US" dirty="0"/>
              <a:t>(</a:t>
            </a:r>
            <a:r>
              <a:rPr lang="en-US" dirty="0" err="1"/>
              <a:t>calibratedWave</a:t>
            </a:r>
            <a:r>
              <a:rPr lang="en-US" dirty="0"/>
              <a:t>, fs, </a:t>
            </a:r>
            <a:r>
              <a:rPr lang="en-US" b="1" dirty="0"/>
              <a:t>#ofHarmonics</a:t>
            </a:r>
            <a:r>
              <a:rPr lang="en-US" dirty="0"/>
              <a:t>, ‘aliased’); where </a:t>
            </a:r>
            <a:r>
              <a:rPr lang="en-US" b="1" dirty="0"/>
              <a:t>#ofHarmonics = 9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D81FB89-E718-3999-EE31-406001F5D6DD}"/>
              </a:ext>
            </a:extLst>
          </p:cNvPr>
          <p:cNvCxnSpPr/>
          <p:nvPr/>
        </p:nvCxnSpPr>
        <p:spPr>
          <a:xfrm>
            <a:off x="2214663" y="4337566"/>
            <a:ext cx="0" cy="118288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A80ED5-337B-8EC8-7667-CBD70C280FF7}"/>
              </a:ext>
            </a:extLst>
          </p:cNvPr>
          <p:cNvCxnSpPr>
            <a:cxnSpLocks/>
          </p:cNvCxnSpPr>
          <p:nvPr/>
        </p:nvCxnSpPr>
        <p:spPr>
          <a:xfrm flipH="1">
            <a:off x="8641678" y="2383430"/>
            <a:ext cx="1238656" cy="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57579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244324-1CD5-8F06-23CD-35479BF9C8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63472-DA97-5797-8C27-915C7C21B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Set Up - Revised</a:t>
            </a:r>
          </a:p>
        </p:txBody>
      </p:sp>
    </p:spTree>
    <p:extLst>
      <p:ext uri="{BB962C8B-B14F-4D97-AF65-F5344CB8AC3E}">
        <p14:creationId xmlns:p14="http://schemas.microsoft.com/office/powerpoint/2010/main" val="16595931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5A8618-7AF8-3295-D0F8-D8138BC9E8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603442C-E7B4-E784-E8B6-80661A77EE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Based on previous results, using a polynomial order of 9 and a memory order of 5 provides approximately 80 dB at 2 GHz, which matches our target. We need to verify whether this configuration is suitable for other frequencies as well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(</a:t>
            </a:r>
            <a:r>
              <a:rPr lang="en-US" i="1" dirty="0"/>
              <a:t>#ofHarmonics is 9 @1.5 GHz, 15 otherwise</a:t>
            </a:r>
            <a:r>
              <a:rPr lang="en-US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293902-738E-6929-A7C8-1E6A086B2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inal Checking: Set Up - Revis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59CEDD-EA5C-7761-1F1F-59F7F07B30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C7AF2A-E4CB-EB45-A53E-90551856B8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59066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2CC6C7-355B-40C2-57F5-A346B02159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638F39-AACE-8778-6764-9560BF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Results - Revised</a:t>
            </a:r>
          </a:p>
        </p:txBody>
      </p:sp>
    </p:spTree>
    <p:extLst>
      <p:ext uri="{BB962C8B-B14F-4D97-AF65-F5344CB8AC3E}">
        <p14:creationId xmlns:p14="http://schemas.microsoft.com/office/powerpoint/2010/main" val="1259203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What is done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Final Checking</a:t>
            </a:r>
          </a:p>
          <a:p>
            <a:pPr lvl="2">
              <a:lnSpc>
                <a:spcPct val="250000"/>
              </a:lnSpc>
            </a:pPr>
            <a:r>
              <a:rPr lang="en-US" sz="1400" dirty="0"/>
              <a:t>Number of Harmonics Problem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Approaching an ideal calibration</a:t>
            </a:r>
          </a:p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  <a:p>
            <a:pPr lvl="1">
              <a:lnSpc>
                <a:spcPct val="250000"/>
              </a:lnSpc>
            </a:pPr>
            <a:r>
              <a:rPr lang="en-US" dirty="0"/>
              <a:t>PRBS Signal Reading cont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1B5723-91F0-CFF0-89C2-C7F32E627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684820-F0A8-5DE6-4157-05654A42B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– Results - Revis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E244EF-984E-644F-0020-64641E2C81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87840-AF8F-069B-88FF-E31C489C07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8" name="Content Placeholder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63333C16-708B-0BC8-EAC2-E27620343E7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49" y="1171123"/>
            <a:ext cx="11961101" cy="5005942"/>
          </a:xfrm>
        </p:spPr>
      </p:pic>
    </p:spTree>
    <p:extLst>
      <p:ext uri="{BB962C8B-B14F-4D97-AF65-F5344CB8AC3E}">
        <p14:creationId xmlns:p14="http://schemas.microsoft.com/office/powerpoint/2010/main" val="13201787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A5375A-698E-335A-29C7-C821DE92A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B56F7D-87B9-3A45-30A2-0B8B2BE62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20321399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2180D-64D6-CBBD-1F4D-AE1E8B144D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9494048-6A8F-73B7-AEF5-1DB53E0924A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We want to make sure that </a:t>
            </a:r>
            <a:r>
              <a:rPr lang="en-US"/>
              <a:t>the signal can be . </a:t>
            </a:r>
            <a:endParaRPr lang="en-US" dirty="0"/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E41D15-EA1A-7CC3-BF3A-FF7757F65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Final Checking 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D97B6C-ECF3-629B-8FD3-B79DBA5D3A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B7C1D7-9EC8-B928-A614-CA6B8ADCD2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6323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365175-1D8E-5331-6F2A-DC4A1DFD0C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2DF17E-B136-5B30-9C5C-CFF3F1D16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3568878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C1060-EAC9-4BAF-DDBF-49F03AA91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BD8611-DB6F-B45E-47B6-36A49E683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Plans for the next weeks</a:t>
            </a:r>
          </a:p>
        </p:txBody>
      </p:sp>
    </p:spTree>
    <p:extLst>
      <p:ext uri="{BB962C8B-B14F-4D97-AF65-F5344CB8AC3E}">
        <p14:creationId xmlns:p14="http://schemas.microsoft.com/office/powerpoint/2010/main" val="22764289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7869-6885-4764-BC2A-EEA50D472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DA1D37-2629-ED52-7026-F9A080B8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Plans for the next weeks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EA2D6-AA58-9CF6-4C00-B074DB58E1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C4D0F-4BE5-27FC-8DCB-2F3CBCC183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216B05E-B5E4-FF76-7F06-40FA03298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Now, we decided which order is going to be used.</a:t>
            </a:r>
          </a:p>
          <a:p>
            <a:r>
              <a:rPr lang="en-US" dirty="0"/>
              <a:t>For the next week, implementation in digital domain will be analyzed and discussed.</a:t>
            </a:r>
          </a:p>
        </p:txBody>
      </p:sp>
    </p:spTree>
    <p:extLst>
      <p:ext uri="{BB962C8B-B14F-4D97-AF65-F5344CB8AC3E}">
        <p14:creationId xmlns:p14="http://schemas.microsoft.com/office/powerpoint/2010/main" val="20241877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B312E-70CB-062A-25F6-BB0702B66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CFC2B9-E946-EED3-C569-5BB5BEA94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Final Checking 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36384561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4ED38F5-6AF9-E40E-A098-ABE8CC3B12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Based on previous results, using a polynomial order of 9 and a memory order of 5 provides approximately 80 dB THD at 2 GHz, which matches our target. We need to verify whether this configuration is suitable for other frequencies as well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DB8397-D680-60DA-E34B-6691C72CD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Final Checking 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62927-AD70-1481-F8CC-CA8CB7484A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A93858-345E-5492-F15F-45CCF0A5C0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9341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706215-FC98-6ADF-23ED-34B1EF237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966AEA-3407-AFD5-6EE2-E5906CC7C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683267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6F261-9847-6930-3610-3EC31D01F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D7FCD0-A508-6AD4-D5CC-0223A34BF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BD6D1C-3752-A361-AC98-961D6E62B8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98363-7217-F55E-AD96-62DA2A3BB7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9" name="Content Placeholder 1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59960A7C-61EC-1E8A-08F3-0EB36231EE2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48833"/>
            <a:ext cx="11520487" cy="5026094"/>
          </a:xfr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79A3A84-FE63-E32B-2BBA-91AE543224F9}"/>
              </a:ext>
            </a:extLst>
          </p:cNvPr>
          <p:cNvCxnSpPr/>
          <p:nvPr/>
        </p:nvCxnSpPr>
        <p:spPr>
          <a:xfrm flipH="1" flipV="1">
            <a:off x="11618068" y="3953477"/>
            <a:ext cx="671208" cy="105058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0038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35DCDB-C03B-7C08-C3CB-2B900EE1E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BCB15E-C80F-8B0A-6148-C23A11E1F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50A4BA-9946-1FEF-E476-DAC051A1DA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8FC87C-2F5E-F6BB-4295-B5AB533A9A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Content Placeholder 1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1B7F093E-3B73-328C-9601-9230EC59AC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48833"/>
            <a:ext cx="11520487" cy="502609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23A2016-A70F-7837-B7A1-C23BF185C562}"/>
              </a:ext>
            </a:extLst>
          </p:cNvPr>
          <p:cNvCxnSpPr/>
          <p:nvPr/>
        </p:nvCxnSpPr>
        <p:spPr>
          <a:xfrm>
            <a:off x="6241914" y="3834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914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09239-19D7-E309-96DB-82EE44D99E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FECC06-F5DE-6DEB-65B2-987F2BD56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Problem @1.5 GHz</a:t>
            </a:r>
          </a:p>
        </p:txBody>
      </p:sp>
    </p:spTree>
    <p:extLst>
      <p:ext uri="{BB962C8B-B14F-4D97-AF65-F5344CB8AC3E}">
        <p14:creationId xmlns:p14="http://schemas.microsoft.com/office/powerpoint/2010/main" val="1526721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2366BE-3023-9BCE-B852-9FB3BEC866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12E7C9-9328-CDCA-EA17-1B2D6BC8F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610875-92A6-96A8-970A-8BD2766E414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EC1EE3-3EA4-8188-E60B-B5178E1CA2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B51CAF-5286-9D44-0848-B4B24A6804B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53C92A-C96A-AF88-964A-B8043A2DF1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624036"/>
            <a:ext cx="11522369" cy="492802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FCB38ED-B94C-B09A-0AED-8DC2DCB260EF}"/>
              </a:ext>
            </a:extLst>
          </p:cNvPr>
          <p:cNvCxnSpPr/>
          <p:nvPr/>
        </p:nvCxnSpPr>
        <p:spPr>
          <a:xfrm>
            <a:off x="8469548" y="8406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A3CEE71-722E-A21F-FF18-4C16CEC5F863}"/>
              </a:ext>
            </a:extLst>
          </p:cNvPr>
          <p:cNvCxnSpPr/>
          <p:nvPr/>
        </p:nvCxnSpPr>
        <p:spPr>
          <a:xfrm>
            <a:off x="2409216" y="22461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2070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58</TotalTime>
  <Words>823</Words>
  <Application>Microsoft Office PowerPoint</Application>
  <PresentationFormat>Widescreen</PresentationFormat>
  <Paragraphs>125</Paragraphs>
  <Slides>26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Arial</vt:lpstr>
      <vt:lpstr>Infineon 16:9</vt:lpstr>
      <vt:lpstr>Biweekly Update Presentation 05</vt:lpstr>
      <vt:lpstr>Outline</vt:lpstr>
      <vt:lpstr>  Final Checking : Set Up</vt:lpstr>
      <vt:lpstr> Final Checking – Set Up</vt:lpstr>
      <vt:lpstr>  Final Checking: Results</vt:lpstr>
      <vt:lpstr>Final Checking - Results</vt:lpstr>
      <vt:lpstr>Final Checking - Results</vt:lpstr>
      <vt:lpstr>  Final Checking: Problem @1.5 GHz</vt:lpstr>
      <vt:lpstr>  Final Checking - Problem @1.5 GHz</vt:lpstr>
      <vt:lpstr>  Final Checking - Problem @1.5 GHz</vt:lpstr>
      <vt:lpstr>  Final Checking - Problem @1.5 GHz</vt:lpstr>
      <vt:lpstr>  Final Checking - Problem @1.5 GHz</vt:lpstr>
      <vt:lpstr>  Final Checking - Problem @1.5 GHz</vt:lpstr>
      <vt:lpstr>  Final Checking: Solution @1.5 GHz</vt:lpstr>
      <vt:lpstr>  Final Checking - Solution @1.5 GHz</vt:lpstr>
      <vt:lpstr>  Final Checking - Solution @1.5 GHz</vt:lpstr>
      <vt:lpstr>  Final Checking: Set Up - Revised</vt:lpstr>
      <vt:lpstr>   Final Checking: Set Up - Revised</vt:lpstr>
      <vt:lpstr>  Final Checking: Results - Revised</vt:lpstr>
      <vt:lpstr>Final Checking – Results - Revised</vt:lpstr>
      <vt:lpstr>  Approaching an ideal calibration: Set Up</vt:lpstr>
      <vt:lpstr> Final Checking – Set Up</vt:lpstr>
      <vt:lpstr>  Final Checking: Results</vt:lpstr>
      <vt:lpstr> Plans for the next weeks</vt:lpstr>
      <vt:lpstr>Plans for the next weeks 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Berkay Ipek</cp:lastModifiedBy>
  <cp:revision>65</cp:revision>
  <dcterms:created xsi:type="dcterms:W3CDTF">2023-11-30T10:20:59Z</dcterms:created>
  <dcterms:modified xsi:type="dcterms:W3CDTF">2025-09-03T13:0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